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3"/>
  </p:sldMasterIdLst>
  <p:sldIdLst>
    <p:sldId id="256" r:id="rId4"/>
    <p:sldId id="258" r:id="rId5"/>
    <p:sldId id="259" r:id="rId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785CE5-E704-442E-986C-3BF01A3421F7}" v="17" dt="2024-01-08T11:55:04.1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160"/>
        <p:guide pos="3840"/>
      </p:guideLst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microsoft.com/office/2016/11/relationships/changesInfo" Target="changesInfos/changesInfo1.xml"/><Relationship Id="rId5" Type="http://schemas.openxmlformats.org/officeDocument/2006/relationships/slide" Target="slides/slide2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ins, Gurjinder(SEU)" userId="05ba5ecb-000d-4b92-bb36-305b52cdf733" providerId="ADAL" clId="{FA785CE5-E704-442E-986C-3BF01A3421F7}"/>
    <pc:docChg chg="modSld">
      <pc:chgData name="Bains, Gurjinder(SEU)" userId="05ba5ecb-000d-4b92-bb36-305b52cdf733" providerId="ADAL" clId="{FA785CE5-E704-442E-986C-3BF01A3421F7}" dt="2024-01-08T11:55:04.104" v="21" actId="20577"/>
      <pc:docMkLst>
        <pc:docMk/>
      </pc:docMkLst>
      <pc:sldChg chg="modSp mod">
        <pc:chgData name="Bains, Gurjinder(SEU)" userId="05ba5ecb-000d-4b92-bb36-305b52cdf733" providerId="ADAL" clId="{FA785CE5-E704-442E-986C-3BF01A3421F7}" dt="2024-01-08T11:55:04.104" v="21" actId="20577"/>
        <pc:sldMkLst>
          <pc:docMk/>
          <pc:sldMk cId="3080919329" sldId="258"/>
        </pc:sldMkLst>
        <pc:graphicFrameChg chg="mod modGraphic">
          <ac:chgData name="Bains, Gurjinder(SEU)" userId="05ba5ecb-000d-4b92-bb36-305b52cdf733" providerId="ADAL" clId="{FA785CE5-E704-442E-986C-3BF01A3421F7}" dt="2024-01-08T11:55:04.104" v="21" actId="20577"/>
          <ac:graphicFrameMkLst>
            <pc:docMk/>
            <pc:sldMk cId="3080919329" sldId="258"/>
            <ac:graphicFrameMk id="13" creationId="{062BC9EC-459B-B6CF-C9AA-341E839ADCBD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4.svg"/><Relationship Id="rId9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EE5996E-DB38-4CCD-A81D-0ADD02CB8F3F}" type="doc">
      <dgm:prSet loTypeId="urn:microsoft.com/office/officeart/2005/8/layout/hList7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4CE2E279-8932-452F-8CD7-BEAA8F8B72F4}">
      <dgm:prSet phldrT="[Text]"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Move away from an equally weighted composite criteria?</a:t>
          </a:r>
        </a:p>
        <a:p>
          <a:endParaRPr lang="en-GB" sz="1100" b="1">
            <a:solidFill>
              <a:schemeClr val="tx1"/>
            </a:solidFill>
          </a:endParaRPr>
        </a:p>
        <a:p>
          <a:r>
            <a:rPr lang="en-GB" sz="1100" b="0">
              <a:solidFill>
                <a:schemeClr val="tx1"/>
              </a:solidFill>
            </a:rPr>
            <a:t>Is there a case to be made for clinical response being prioritised as what is most important to patients and treating clinicians.</a:t>
          </a:r>
          <a:endParaRPr lang="en-GB" sz="1100">
            <a:solidFill>
              <a:schemeClr val="tx1"/>
            </a:solidFill>
          </a:endParaRPr>
        </a:p>
      </dgm:t>
    </dgm:pt>
    <dgm:pt modelId="{201A9DAF-3342-45CD-8DF9-2BC2CFDE7A84}" type="parTrans" cxnId="{2B848BC9-6D39-43D0-9198-363C8549359E}">
      <dgm:prSet/>
      <dgm:spPr/>
      <dgm:t>
        <a:bodyPr/>
        <a:lstStyle/>
        <a:p>
          <a:endParaRPr lang="en-GB"/>
        </a:p>
      </dgm:t>
    </dgm:pt>
    <dgm:pt modelId="{B3C21FD1-A5F2-4127-8A88-F8271FDD52CF}" type="sibTrans" cxnId="{2B848BC9-6D39-43D0-9198-363C8549359E}">
      <dgm:prSet/>
      <dgm:spPr/>
      <dgm:t>
        <a:bodyPr/>
        <a:lstStyle/>
        <a:p>
          <a:endParaRPr lang="en-GB"/>
        </a:p>
      </dgm:t>
    </dgm:pt>
    <dgm:pt modelId="{1E6F371C-482F-486E-93FA-66A4FE07DB0E}">
      <dgm:prSet phldrT="[Text]"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Move away from Binary outcomes?</a:t>
          </a:r>
        </a:p>
        <a:p>
          <a:endParaRPr lang="en-GB" sz="1050" b="1">
            <a:solidFill>
              <a:schemeClr val="tx1"/>
            </a:solidFill>
          </a:endParaRPr>
        </a:p>
        <a:p>
          <a:r>
            <a:rPr kumimoji="1" lang="en-GB" sz="1100" b="0">
              <a:solidFill>
                <a:schemeClr val="tx1"/>
              </a:solidFill>
              <a:latin typeface="+mn-lt"/>
              <a:ea typeface="+mn-ea"/>
              <a:cs typeface="+mn-cs"/>
            </a:rPr>
            <a:t>Continuous or ordinal outcomes instead? Which may even enhance statistical powering. </a:t>
          </a:r>
          <a:endParaRPr lang="en-GB" sz="1100">
            <a:solidFill>
              <a:schemeClr val="tx1"/>
            </a:solidFill>
          </a:endParaRPr>
        </a:p>
      </dgm:t>
    </dgm:pt>
    <dgm:pt modelId="{D97B9DF9-4052-40DF-80AC-748B0E949701}" type="parTrans" cxnId="{932EFB43-5363-4A00-B05A-A8F3B08F5D6B}">
      <dgm:prSet/>
      <dgm:spPr/>
      <dgm:t>
        <a:bodyPr/>
        <a:lstStyle/>
        <a:p>
          <a:endParaRPr lang="en-GB"/>
        </a:p>
      </dgm:t>
    </dgm:pt>
    <dgm:pt modelId="{0DC0BAB6-D1D6-4602-85FB-1099D5FB9F74}" type="sibTrans" cxnId="{932EFB43-5363-4A00-B05A-A8F3B08F5D6B}">
      <dgm:prSet/>
      <dgm:spPr/>
      <dgm:t>
        <a:bodyPr/>
        <a:lstStyle/>
        <a:p>
          <a:endParaRPr lang="en-GB"/>
        </a:p>
      </dgm:t>
    </dgm:pt>
    <dgm:pt modelId="{C6AD1004-401D-499C-A2DA-AFA2BCABD5F3}">
      <dgm:prSet phldrT="[Text]"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Are the time points for assessment appropriate for all moulds and infection sites/syndromes?</a:t>
          </a:r>
        </a:p>
        <a:p>
          <a:r>
            <a:rPr lang="en-GB" sz="1100" b="0">
              <a:solidFill>
                <a:schemeClr val="tx1"/>
              </a:solidFill>
            </a:rPr>
            <a:t>Day 42/ day 84 too early for some moulds </a:t>
          </a:r>
          <a:r>
            <a:rPr lang="en-GB" sz="1200" b="0">
              <a:solidFill>
                <a:schemeClr val="tx1"/>
              </a:solidFill>
            </a:rPr>
            <a:t>and </a:t>
          </a:r>
          <a:r>
            <a:rPr lang="en-GB" sz="1100" b="0">
              <a:solidFill>
                <a:schemeClr val="tx1"/>
              </a:solidFill>
            </a:rPr>
            <a:t>certain difficult to treat sites such as CNS, bone and joint or deep seated SSTI. </a:t>
          </a:r>
          <a:endParaRPr lang="en-GB" sz="1100">
            <a:solidFill>
              <a:schemeClr val="tx1"/>
            </a:solidFill>
          </a:endParaRPr>
        </a:p>
      </dgm:t>
    </dgm:pt>
    <dgm:pt modelId="{544BE7DF-F9A2-43E2-96A3-53C4924B7A0A}" type="parTrans" cxnId="{A02D098D-6C64-4770-AFC3-CD31EBF1B3E6}">
      <dgm:prSet/>
      <dgm:spPr/>
      <dgm:t>
        <a:bodyPr/>
        <a:lstStyle/>
        <a:p>
          <a:endParaRPr lang="en-GB"/>
        </a:p>
      </dgm:t>
    </dgm:pt>
    <dgm:pt modelId="{3995D753-C997-449E-ACBC-0BCF8E641BDA}" type="sibTrans" cxnId="{A02D098D-6C64-4770-AFC3-CD31EBF1B3E6}">
      <dgm:prSet/>
      <dgm:spPr/>
      <dgm:t>
        <a:bodyPr/>
        <a:lstStyle/>
        <a:p>
          <a:endParaRPr lang="en-GB"/>
        </a:p>
      </dgm:t>
    </dgm:pt>
    <dgm:pt modelId="{A242EEE3-C8C7-444B-B94C-FBFAC9D5177C}">
      <dgm:prSet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Rare moulds </a:t>
          </a:r>
        </a:p>
        <a:p>
          <a:r>
            <a:rPr lang="en-GB" sz="1100" b="0">
              <a:solidFill>
                <a:schemeClr val="tx1"/>
              </a:solidFill>
            </a:rPr>
            <a:t>Should we have mould criteria that look beyond aspergillus? </a:t>
          </a:r>
          <a:endParaRPr lang="en-GB" sz="1400" b="0">
            <a:solidFill>
              <a:schemeClr val="tx1"/>
            </a:solidFill>
          </a:endParaRPr>
        </a:p>
      </dgm:t>
    </dgm:pt>
    <dgm:pt modelId="{30EA47A1-9375-4818-AAB7-A996098E548D}" type="parTrans" cxnId="{58EF45C5-D0A4-4F91-B7C0-5E642893F667}">
      <dgm:prSet/>
      <dgm:spPr/>
      <dgm:t>
        <a:bodyPr/>
        <a:lstStyle/>
        <a:p>
          <a:endParaRPr lang="en-GB"/>
        </a:p>
      </dgm:t>
    </dgm:pt>
    <dgm:pt modelId="{487D4E3B-C0C8-4A27-8C14-E9F7454D4BF9}" type="sibTrans" cxnId="{58EF45C5-D0A4-4F91-B7C0-5E642893F667}">
      <dgm:prSet/>
      <dgm:spPr/>
      <dgm:t>
        <a:bodyPr/>
        <a:lstStyle/>
        <a:p>
          <a:endParaRPr lang="en-GB"/>
        </a:p>
      </dgm:t>
    </dgm:pt>
    <dgm:pt modelId="{924F9F10-EE0B-4BC8-A8E7-9EC4042D0BA5}">
      <dgm:prSet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Stable disease always a failure?</a:t>
          </a:r>
        </a:p>
        <a:p>
          <a:r>
            <a:rPr lang="en-GB" sz="1100">
              <a:solidFill>
                <a:schemeClr val="tx1"/>
              </a:solidFill>
            </a:rPr>
            <a:t>Could we capture when stable disease is a success?</a:t>
          </a:r>
        </a:p>
      </dgm:t>
    </dgm:pt>
    <dgm:pt modelId="{2E2488DD-1446-468D-8C89-5C8670502CC2}" type="parTrans" cxnId="{A2BAECDE-FEC9-46DF-B24C-9500293A0DB3}">
      <dgm:prSet/>
      <dgm:spPr/>
      <dgm:t>
        <a:bodyPr/>
        <a:lstStyle/>
        <a:p>
          <a:endParaRPr lang="en-GB"/>
        </a:p>
      </dgm:t>
    </dgm:pt>
    <dgm:pt modelId="{B3CC7A37-A0EB-416B-A40E-D2A5D1FED5A1}" type="sibTrans" cxnId="{A2BAECDE-FEC9-46DF-B24C-9500293A0DB3}">
      <dgm:prSet/>
      <dgm:spPr/>
      <dgm:t>
        <a:bodyPr/>
        <a:lstStyle/>
        <a:p>
          <a:endParaRPr lang="en-GB"/>
        </a:p>
      </dgm:t>
    </dgm:pt>
    <dgm:pt modelId="{A9A1A0AA-C556-4C10-A0E2-7C2181263BF7}">
      <dgm:prSet custT="1"/>
      <dgm:spPr/>
      <dgm:t>
        <a:bodyPr/>
        <a:lstStyle/>
        <a:p>
          <a:r>
            <a:rPr lang="en-GB" sz="1100" b="1">
              <a:solidFill>
                <a:schemeClr val="tx1"/>
              </a:solidFill>
            </a:rPr>
            <a:t>Include Newer Diagnostic Modalities?</a:t>
          </a:r>
        </a:p>
        <a:p>
          <a:endParaRPr lang="en-GB" sz="1100" b="1">
            <a:solidFill>
              <a:schemeClr val="tx1"/>
            </a:solidFill>
          </a:endParaRPr>
        </a:p>
        <a:p>
          <a:r>
            <a:rPr lang="en-GB" sz="1100">
              <a:solidFill>
                <a:schemeClr val="tx1"/>
              </a:solidFill>
            </a:rPr>
            <a:t>GM, BDG, PCR, LFT, PET-CT. Increased options to assess response a good thing?</a:t>
          </a:r>
        </a:p>
      </dgm:t>
    </dgm:pt>
    <dgm:pt modelId="{E7C70398-0D30-4DB4-A5E0-9BCC86A3020D}" type="parTrans" cxnId="{8C49E972-AF8B-4E92-8AE9-CF00E1AE58E3}">
      <dgm:prSet/>
      <dgm:spPr/>
      <dgm:t>
        <a:bodyPr/>
        <a:lstStyle/>
        <a:p>
          <a:endParaRPr lang="en-GB"/>
        </a:p>
      </dgm:t>
    </dgm:pt>
    <dgm:pt modelId="{0E0A1089-A7A0-4172-9163-CEF106D0FA6D}" type="sibTrans" cxnId="{8C49E972-AF8B-4E92-8AE9-CF00E1AE58E3}">
      <dgm:prSet/>
      <dgm:spPr/>
      <dgm:t>
        <a:bodyPr/>
        <a:lstStyle/>
        <a:p>
          <a:endParaRPr lang="en-GB"/>
        </a:p>
      </dgm:t>
    </dgm:pt>
    <dgm:pt modelId="{0A330E2A-D885-450A-92E3-DBC51A3CC76B}" type="pres">
      <dgm:prSet presAssocID="{7EE5996E-DB38-4CCD-A81D-0ADD02CB8F3F}" presName="Name0" presStyleCnt="0">
        <dgm:presLayoutVars>
          <dgm:dir/>
          <dgm:resizeHandles val="exact"/>
        </dgm:presLayoutVars>
      </dgm:prSet>
      <dgm:spPr/>
    </dgm:pt>
    <dgm:pt modelId="{8C0756B6-2B51-4AD6-BC5F-2BC79E33632F}" type="pres">
      <dgm:prSet presAssocID="{7EE5996E-DB38-4CCD-A81D-0ADD02CB8F3F}" presName="fgShape" presStyleLbl="fgShp" presStyleIdx="0" presStyleCnt="1"/>
      <dgm:spPr/>
    </dgm:pt>
    <dgm:pt modelId="{8C87E537-14BA-489B-B8A9-C3DE6AF76921}" type="pres">
      <dgm:prSet presAssocID="{7EE5996E-DB38-4CCD-A81D-0ADD02CB8F3F}" presName="linComp" presStyleCnt="0"/>
      <dgm:spPr/>
    </dgm:pt>
    <dgm:pt modelId="{F34A13C0-A08D-49DB-AC95-1D411A7B5A19}" type="pres">
      <dgm:prSet presAssocID="{4CE2E279-8932-452F-8CD7-BEAA8F8B72F4}" presName="compNode" presStyleCnt="0"/>
      <dgm:spPr/>
    </dgm:pt>
    <dgm:pt modelId="{478A1CD5-AE8F-4024-A232-A64851F128D0}" type="pres">
      <dgm:prSet presAssocID="{4CE2E279-8932-452F-8CD7-BEAA8F8B72F4}" presName="bkgdShape" presStyleLbl="node1" presStyleIdx="0" presStyleCnt="6"/>
      <dgm:spPr/>
    </dgm:pt>
    <dgm:pt modelId="{DE21018B-33B5-4227-A85E-37F5698B7083}" type="pres">
      <dgm:prSet presAssocID="{4CE2E279-8932-452F-8CD7-BEAA8F8B72F4}" presName="nodeTx" presStyleLbl="node1" presStyleIdx="0" presStyleCnt="6">
        <dgm:presLayoutVars>
          <dgm:bulletEnabled val="1"/>
        </dgm:presLayoutVars>
      </dgm:prSet>
      <dgm:spPr/>
    </dgm:pt>
    <dgm:pt modelId="{01789174-AA37-468D-8594-FEE2688A2E64}" type="pres">
      <dgm:prSet presAssocID="{4CE2E279-8932-452F-8CD7-BEAA8F8B72F4}" presName="invisiNode" presStyleLbl="node1" presStyleIdx="0" presStyleCnt="6"/>
      <dgm:spPr/>
    </dgm:pt>
    <dgm:pt modelId="{D4C90EEB-AF5E-4659-BE09-B7B38C5F1F26}" type="pres">
      <dgm:prSet presAssocID="{4CE2E279-8932-452F-8CD7-BEAA8F8B72F4}" presName="imagNode" presStyleLbl="fgImgPlace1" presStyleIdx="0" presStyleCnt="6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1 with solid fill"/>
        </a:ext>
      </dgm:extLst>
    </dgm:pt>
    <dgm:pt modelId="{2435ACDC-3DA3-42AF-914A-DD195DCB64D6}" type="pres">
      <dgm:prSet presAssocID="{B3C21FD1-A5F2-4127-8A88-F8271FDD52CF}" presName="sibTrans" presStyleLbl="sibTrans2D1" presStyleIdx="0" presStyleCnt="0"/>
      <dgm:spPr/>
    </dgm:pt>
    <dgm:pt modelId="{669714A1-5E48-4AC8-BF1D-25735820CFD3}" type="pres">
      <dgm:prSet presAssocID="{1E6F371C-482F-486E-93FA-66A4FE07DB0E}" presName="compNode" presStyleCnt="0"/>
      <dgm:spPr/>
    </dgm:pt>
    <dgm:pt modelId="{E959FD8E-A21C-4FBF-A248-CA415141D46F}" type="pres">
      <dgm:prSet presAssocID="{1E6F371C-482F-486E-93FA-66A4FE07DB0E}" presName="bkgdShape" presStyleLbl="node1" presStyleIdx="1" presStyleCnt="6"/>
      <dgm:spPr/>
    </dgm:pt>
    <dgm:pt modelId="{F02FFA5C-E071-4738-9F74-DCF14FFA5AC0}" type="pres">
      <dgm:prSet presAssocID="{1E6F371C-482F-486E-93FA-66A4FE07DB0E}" presName="nodeTx" presStyleLbl="node1" presStyleIdx="1" presStyleCnt="6">
        <dgm:presLayoutVars>
          <dgm:bulletEnabled val="1"/>
        </dgm:presLayoutVars>
      </dgm:prSet>
      <dgm:spPr/>
    </dgm:pt>
    <dgm:pt modelId="{FB38BD51-93C6-4C44-9FF4-29844329EEA2}" type="pres">
      <dgm:prSet presAssocID="{1E6F371C-482F-486E-93FA-66A4FE07DB0E}" presName="invisiNode" presStyleLbl="node1" presStyleIdx="1" presStyleCnt="6"/>
      <dgm:spPr/>
    </dgm:pt>
    <dgm:pt modelId="{C5C2F3A0-0C70-4B84-A6F0-5A87EB42E5A8}" type="pres">
      <dgm:prSet presAssocID="{1E6F371C-482F-486E-93FA-66A4FE07DB0E}" presName="imagNode" presStyleLbl="fgImgPlac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with solid fill"/>
        </a:ext>
      </dgm:extLst>
    </dgm:pt>
    <dgm:pt modelId="{53E0229C-CF74-42AD-894C-7AD47D97ED25}" type="pres">
      <dgm:prSet presAssocID="{0DC0BAB6-D1D6-4602-85FB-1099D5FB9F74}" presName="sibTrans" presStyleLbl="sibTrans2D1" presStyleIdx="0" presStyleCnt="0"/>
      <dgm:spPr/>
    </dgm:pt>
    <dgm:pt modelId="{A3901F94-4300-47F5-9CFA-F4990EF8CC1B}" type="pres">
      <dgm:prSet presAssocID="{C6AD1004-401D-499C-A2DA-AFA2BCABD5F3}" presName="compNode" presStyleCnt="0"/>
      <dgm:spPr/>
    </dgm:pt>
    <dgm:pt modelId="{545D828C-5F30-4944-9BBC-AD7DCE5ABAFE}" type="pres">
      <dgm:prSet presAssocID="{C6AD1004-401D-499C-A2DA-AFA2BCABD5F3}" presName="bkgdShape" presStyleLbl="node1" presStyleIdx="2" presStyleCnt="6"/>
      <dgm:spPr/>
    </dgm:pt>
    <dgm:pt modelId="{A660D85A-D6B6-49AE-9C9D-974B2E2F4E21}" type="pres">
      <dgm:prSet presAssocID="{C6AD1004-401D-499C-A2DA-AFA2BCABD5F3}" presName="nodeTx" presStyleLbl="node1" presStyleIdx="2" presStyleCnt="6">
        <dgm:presLayoutVars>
          <dgm:bulletEnabled val="1"/>
        </dgm:presLayoutVars>
      </dgm:prSet>
      <dgm:spPr/>
    </dgm:pt>
    <dgm:pt modelId="{5F2A5500-AFA6-4F40-99EF-34BA89BEA41D}" type="pres">
      <dgm:prSet presAssocID="{C6AD1004-401D-499C-A2DA-AFA2BCABD5F3}" presName="invisiNode" presStyleLbl="node1" presStyleIdx="2" presStyleCnt="6"/>
      <dgm:spPr/>
    </dgm:pt>
    <dgm:pt modelId="{9AD62690-D065-4ABD-9AE2-A26BBD071E86}" type="pres">
      <dgm:prSet presAssocID="{C6AD1004-401D-499C-A2DA-AFA2BCABD5F3}" presName="imagNode" presStyleLbl="fgImgPlac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3 with solid fill"/>
        </a:ext>
      </dgm:extLst>
    </dgm:pt>
    <dgm:pt modelId="{321B6F07-AD98-49D8-A64B-4336E9064FCB}" type="pres">
      <dgm:prSet presAssocID="{3995D753-C997-449E-ACBC-0BCF8E641BDA}" presName="sibTrans" presStyleLbl="sibTrans2D1" presStyleIdx="0" presStyleCnt="0"/>
      <dgm:spPr/>
    </dgm:pt>
    <dgm:pt modelId="{37D7BDA6-430C-4D8C-8BE5-02BFAA630740}" type="pres">
      <dgm:prSet presAssocID="{A242EEE3-C8C7-444B-B94C-FBFAC9D5177C}" presName="compNode" presStyleCnt="0"/>
      <dgm:spPr/>
    </dgm:pt>
    <dgm:pt modelId="{6176D58F-D22E-4AB5-8283-91A81D98054D}" type="pres">
      <dgm:prSet presAssocID="{A242EEE3-C8C7-444B-B94C-FBFAC9D5177C}" presName="bkgdShape" presStyleLbl="node1" presStyleIdx="3" presStyleCnt="6"/>
      <dgm:spPr/>
    </dgm:pt>
    <dgm:pt modelId="{8EC60E34-8B49-453D-BAF8-828527DADBCF}" type="pres">
      <dgm:prSet presAssocID="{A242EEE3-C8C7-444B-B94C-FBFAC9D5177C}" presName="nodeTx" presStyleLbl="node1" presStyleIdx="3" presStyleCnt="6">
        <dgm:presLayoutVars>
          <dgm:bulletEnabled val="1"/>
        </dgm:presLayoutVars>
      </dgm:prSet>
      <dgm:spPr/>
    </dgm:pt>
    <dgm:pt modelId="{472D494F-57FF-4E00-8931-E6ECCBF32334}" type="pres">
      <dgm:prSet presAssocID="{A242EEE3-C8C7-444B-B94C-FBFAC9D5177C}" presName="invisiNode" presStyleLbl="node1" presStyleIdx="3" presStyleCnt="6"/>
      <dgm:spPr/>
    </dgm:pt>
    <dgm:pt modelId="{A3F61514-B586-42E7-A7DD-E3E19C06F9E4}" type="pres">
      <dgm:prSet presAssocID="{A242EEE3-C8C7-444B-B94C-FBFAC9D5177C}" presName="imagNode" presStyleLbl="fgImgPlac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4 with solid fill"/>
        </a:ext>
      </dgm:extLst>
    </dgm:pt>
    <dgm:pt modelId="{96DD45C8-9CA7-4964-B9BC-5A3B4810268E}" type="pres">
      <dgm:prSet presAssocID="{487D4E3B-C0C8-4A27-8C14-E9F7454D4BF9}" presName="sibTrans" presStyleLbl="sibTrans2D1" presStyleIdx="0" presStyleCnt="0"/>
      <dgm:spPr/>
    </dgm:pt>
    <dgm:pt modelId="{BFA56471-5D6E-4947-AA7F-DF071483BA04}" type="pres">
      <dgm:prSet presAssocID="{924F9F10-EE0B-4BC8-A8E7-9EC4042D0BA5}" presName="compNode" presStyleCnt="0"/>
      <dgm:spPr/>
    </dgm:pt>
    <dgm:pt modelId="{00F7EA1C-549A-49FC-AD9D-764FE931A751}" type="pres">
      <dgm:prSet presAssocID="{924F9F10-EE0B-4BC8-A8E7-9EC4042D0BA5}" presName="bkgdShape" presStyleLbl="node1" presStyleIdx="4" presStyleCnt="6"/>
      <dgm:spPr/>
    </dgm:pt>
    <dgm:pt modelId="{67929672-4330-43EB-8B34-151FCB03A896}" type="pres">
      <dgm:prSet presAssocID="{924F9F10-EE0B-4BC8-A8E7-9EC4042D0BA5}" presName="nodeTx" presStyleLbl="node1" presStyleIdx="4" presStyleCnt="6">
        <dgm:presLayoutVars>
          <dgm:bulletEnabled val="1"/>
        </dgm:presLayoutVars>
      </dgm:prSet>
      <dgm:spPr/>
    </dgm:pt>
    <dgm:pt modelId="{3E86F3A7-EE76-4DCF-AC08-B1CD02354D1B}" type="pres">
      <dgm:prSet presAssocID="{924F9F10-EE0B-4BC8-A8E7-9EC4042D0BA5}" presName="invisiNode" presStyleLbl="node1" presStyleIdx="4" presStyleCnt="6"/>
      <dgm:spPr/>
    </dgm:pt>
    <dgm:pt modelId="{09162369-1424-4D5E-BB1C-5F5B0243CD11}" type="pres">
      <dgm:prSet presAssocID="{924F9F10-EE0B-4BC8-A8E7-9EC4042D0BA5}" presName="imagNode" presStyleLbl="fgImgPlace1" presStyleIdx="4" presStyleCnt="6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5 with solid fill"/>
        </a:ext>
      </dgm:extLst>
    </dgm:pt>
    <dgm:pt modelId="{3CE84F9D-0C6E-4AF5-ABBB-4118D4F6D4ED}" type="pres">
      <dgm:prSet presAssocID="{B3CC7A37-A0EB-416B-A40E-D2A5D1FED5A1}" presName="sibTrans" presStyleLbl="sibTrans2D1" presStyleIdx="0" presStyleCnt="0"/>
      <dgm:spPr/>
    </dgm:pt>
    <dgm:pt modelId="{127B524D-A7B7-4249-8CDC-F872206CFE9F}" type="pres">
      <dgm:prSet presAssocID="{A9A1A0AA-C556-4C10-A0E2-7C2181263BF7}" presName="compNode" presStyleCnt="0"/>
      <dgm:spPr/>
    </dgm:pt>
    <dgm:pt modelId="{D5837140-17E3-405C-91F3-1D6E63E092CC}" type="pres">
      <dgm:prSet presAssocID="{A9A1A0AA-C556-4C10-A0E2-7C2181263BF7}" presName="bkgdShape" presStyleLbl="node1" presStyleIdx="5" presStyleCnt="6"/>
      <dgm:spPr/>
    </dgm:pt>
    <dgm:pt modelId="{BE09328E-647E-4703-B3D8-16E22E124385}" type="pres">
      <dgm:prSet presAssocID="{A9A1A0AA-C556-4C10-A0E2-7C2181263BF7}" presName="nodeTx" presStyleLbl="node1" presStyleIdx="5" presStyleCnt="6">
        <dgm:presLayoutVars>
          <dgm:bulletEnabled val="1"/>
        </dgm:presLayoutVars>
      </dgm:prSet>
      <dgm:spPr/>
    </dgm:pt>
    <dgm:pt modelId="{28D70C01-7E51-40AE-9065-4D3FCE282E4C}" type="pres">
      <dgm:prSet presAssocID="{A9A1A0AA-C556-4C10-A0E2-7C2181263BF7}" presName="invisiNode" presStyleLbl="node1" presStyleIdx="5" presStyleCnt="6"/>
      <dgm:spPr/>
    </dgm:pt>
    <dgm:pt modelId="{022BAB58-632C-4BC5-A68C-E27F7E229EAE}" type="pres">
      <dgm:prSet presAssocID="{A9A1A0AA-C556-4C10-A0E2-7C2181263BF7}" presName="imagNode" presStyleLbl="fgImgPlace1" presStyleIdx="5" presStyleCnt="6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dge 6 with solid fill"/>
        </a:ext>
      </dgm:extLst>
    </dgm:pt>
  </dgm:ptLst>
  <dgm:cxnLst>
    <dgm:cxn modelId="{6A1AE111-EF70-4450-950D-193CB970DE5C}" type="presOf" srcId="{3995D753-C997-449E-ACBC-0BCF8E641BDA}" destId="{321B6F07-AD98-49D8-A64B-4336E9064FCB}" srcOrd="0" destOrd="0" presId="urn:microsoft.com/office/officeart/2005/8/layout/hList7"/>
    <dgm:cxn modelId="{049AEF17-0C24-4786-8614-29ED33FAFA6F}" type="presOf" srcId="{C6AD1004-401D-499C-A2DA-AFA2BCABD5F3}" destId="{A660D85A-D6B6-49AE-9C9D-974B2E2F4E21}" srcOrd="1" destOrd="0" presId="urn:microsoft.com/office/officeart/2005/8/layout/hList7"/>
    <dgm:cxn modelId="{1373711B-D7FE-4D61-B2D2-2D6686870A57}" type="presOf" srcId="{1E6F371C-482F-486E-93FA-66A4FE07DB0E}" destId="{E959FD8E-A21C-4FBF-A248-CA415141D46F}" srcOrd="0" destOrd="0" presId="urn:microsoft.com/office/officeart/2005/8/layout/hList7"/>
    <dgm:cxn modelId="{F0ED991B-CE42-4816-A210-254898D54B6B}" type="presOf" srcId="{A242EEE3-C8C7-444B-B94C-FBFAC9D5177C}" destId="{8EC60E34-8B49-453D-BAF8-828527DADBCF}" srcOrd="1" destOrd="0" presId="urn:microsoft.com/office/officeart/2005/8/layout/hList7"/>
    <dgm:cxn modelId="{558D1921-AFD2-4962-9B6E-09498C07B039}" type="presOf" srcId="{7EE5996E-DB38-4CCD-A81D-0ADD02CB8F3F}" destId="{0A330E2A-D885-450A-92E3-DBC51A3CC76B}" srcOrd="0" destOrd="0" presId="urn:microsoft.com/office/officeart/2005/8/layout/hList7"/>
    <dgm:cxn modelId="{1D466036-B2F4-4968-AE09-5436EABFF022}" type="presOf" srcId="{A242EEE3-C8C7-444B-B94C-FBFAC9D5177C}" destId="{6176D58F-D22E-4AB5-8283-91A81D98054D}" srcOrd="0" destOrd="0" presId="urn:microsoft.com/office/officeart/2005/8/layout/hList7"/>
    <dgm:cxn modelId="{68EEFD3B-E7BE-4A57-BC70-128B0CEA20CA}" type="presOf" srcId="{B3CC7A37-A0EB-416B-A40E-D2A5D1FED5A1}" destId="{3CE84F9D-0C6E-4AF5-ABBB-4118D4F6D4ED}" srcOrd="0" destOrd="0" presId="urn:microsoft.com/office/officeart/2005/8/layout/hList7"/>
    <dgm:cxn modelId="{932EFB43-5363-4A00-B05A-A8F3B08F5D6B}" srcId="{7EE5996E-DB38-4CCD-A81D-0ADD02CB8F3F}" destId="{1E6F371C-482F-486E-93FA-66A4FE07DB0E}" srcOrd="1" destOrd="0" parTransId="{D97B9DF9-4052-40DF-80AC-748B0E949701}" sibTransId="{0DC0BAB6-D1D6-4602-85FB-1099D5FB9F74}"/>
    <dgm:cxn modelId="{EC5B4565-2C97-4688-B006-CEC06B773370}" type="presOf" srcId="{C6AD1004-401D-499C-A2DA-AFA2BCABD5F3}" destId="{545D828C-5F30-4944-9BBC-AD7DCE5ABAFE}" srcOrd="0" destOrd="0" presId="urn:microsoft.com/office/officeart/2005/8/layout/hList7"/>
    <dgm:cxn modelId="{CBAA8665-6E82-4907-AEC9-1A5B862891A9}" type="presOf" srcId="{A9A1A0AA-C556-4C10-A0E2-7C2181263BF7}" destId="{BE09328E-647E-4703-B3D8-16E22E124385}" srcOrd="1" destOrd="0" presId="urn:microsoft.com/office/officeart/2005/8/layout/hList7"/>
    <dgm:cxn modelId="{D8F6184D-F02A-4511-A4F6-E8B3A291B174}" type="presOf" srcId="{0DC0BAB6-D1D6-4602-85FB-1099D5FB9F74}" destId="{53E0229C-CF74-42AD-894C-7AD47D97ED25}" srcOrd="0" destOrd="0" presId="urn:microsoft.com/office/officeart/2005/8/layout/hList7"/>
    <dgm:cxn modelId="{8C49E972-AF8B-4E92-8AE9-CF00E1AE58E3}" srcId="{7EE5996E-DB38-4CCD-A81D-0ADD02CB8F3F}" destId="{A9A1A0AA-C556-4C10-A0E2-7C2181263BF7}" srcOrd="5" destOrd="0" parTransId="{E7C70398-0D30-4DB4-A5E0-9BCC86A3020D}" sibTransId="{0E0A1089-A7A0-4172-9163-CEF106D0FA6D}"/>
    <dgm:cxn modelId="{48728D7E-1127-4D71-A70C-8C7386253CF3}" type="presOf" srcId="{4CE2E279-8932-452F-8CD7-BEAA8F8B72F4}" destId="{DE21018B-33B5-4227-A85E-37F5698B7083}" srcOrd="1" destOrd="0" presId="urn:microsoft.com/office/officeart/2005/8/layout/hList7"/>
    <dgm:cxn modelId="{A02D098D-6C64-4770-AFC3-CD31EBF1B3E6}" srcId="{7EE5996E-DB38-4CCD-A81D-0ADD02CB8F3F}" destId="{C6AD1004-401D-499C-A2DA-AFA2BCABD5F3}" srcOrd="2" destOrd="0" parTransId="{544BE7DF-F9A2-43E2-96A3-53C4924B7A0A}" sibTransId="{3995D753-C997-449E-ACBC-0BCF8E641BDA}"/>
    <dgm:cxn modelId="{A9674797-9089-4859-A7E1-CF1447C88355}" type="presOf" srcId="{924F9F10-EE0B-4BC8-A8E7-9EC4042D0BA5}" destId="{67929672-4330-43EB-8B34-151FCB03A896}" srcOrd="1" destOrd="0" presId="urn:microsoft.com/office/officeart/2005/8/layout/hList7"/>
    <dgm:cxn modelId="{5E98199D-555D-486B-B47F-D2AF12D4B0CA}" type="presOf" srcId="{A9A1A0AA-C556-4C10-A0E2-7C2181263BF7}" destId="{D5837140-17E3-405C-91F3-1D6E63E092CC}" srcOrd="0" destOrd="0" presId="urn:microsoft.com/office/officeart/2005/8/layout/hList7"/>
    <dgm:cxn modelId="{9DA7DAB5-5058-43D9-8557-BD471CD195DA}" type="presOf" srcId="{924F9F10-EE0B-4BC8-A8E7-9EC4042D0BA5}" destId="{00F7EA1C-549A-49FC-AD9D-764FE931A751}" srcOrd="0" destOrd="0" presId="urn:microsoft.com/office/officeart/2005/8/layout/hList7"/>
    <dgm:cxn modelId="{58EF45C5-D0A4-4F91-B7C0-5E642893F667}" srcId="{7EE5996E-DB38-4CCD-A81D-0ADD02CB8F3F}" destId="{A242EEE3-C8C7-444B-B94C-FBFAC9D5177C}" srcOrd="3" destOrd="0" parTransId="{30EA47A1-9375-4818-AAB7-A996098E548D}" sibTransId="{487D4E3B-C0C8-4A27-8C14-E9F7454D4BF9}"/>
    <dgm:cxn modelId="{2B848BC9-6D39-43D0-9198-363C8549359E}" srcId="{7EE5996E-DB38-4CCD-A81D-0ADD02CB8F3F}" destId="{4CE2E279-8932-452F-8CD7-BEAA8F8B72F4}" srcOrd="0" destOrd="0" parTransId="{201A9DAF-3342-45CD-8DF9-2BC2CFDE7A84}" sibTransId="{B3C21FD1-A5F2-4127-8A88-F8271FDD52CF}"/>
    <dgm:cxn modelId="{52E3EBCB-16E2-475E-8A32-EEC5F5D7A567}" type="presOf" srcId="{4CE2E279-8932-452F-8CD7-BEAA8F8B72F4}" destId="{478A1CD5-AE8F-4024-A232-A64851F128D0}" srcOrd="0" destOrd="0" presId="urn:microsoft.com/office/officeart/2005/8/layout/hList7"/>
    <dgm:cxn modelId="{D44E28D8-9BE2-4160-BFF4-E8DCF1C553AA}" type="presOf" srcId="{B3C21FD1-A5F2-4127-8A88-F8271FDD52CF}" destId="{2435ACDC-3DA3-42AF-914A-DD195DCB64D6}" srcOrd="0" destOrd="0" presId="urn:microsoft.com/office/officeart/2005/8/layout/hList7"/>
    <dgm:cxn modelId="{A2BAECDE-FEC9-46DF-B24C-9500293A0DB3}" srcId="{7EE5996E-DB38-4CCD-A81D-0ADD02CB8F3F}" destId="{924F9F10-EE0B-4BC8-A8E7-9EC4042D0BA5}" srcOrd="4" destOrd="0" parTransId="{2E2488DD-1446-468D-8C89-5C8670502CC2}" sibTransId="{B3CC7A37-A0EB-416B-A40E-D2A5D1FED5A1}"/>
    <dgm:cxn modelId="{420B6BDF-3B51-4CD3-BB3E-AABB4FEAA016}" type="presOf" srcId="{487D4E3B-C0C8-4A27-8C14-E9F7454D4BF9}" destId="{96DD45C8-9CA7-4964-B9BC-5A3B4810268E}" srcOrd="0" destOrd="0" presId="urn:microsoft.com/office/officeart/2005/8/layout/hList7"/>
    <dgm:cxn modelId="{EFD389F6-A653-427F-BFD8-16CE1F5BDF4C}" type="presOf" srcId="{1E6F371C-482F-486E-93FA-66A4FE07DB0E}" destId="{F02FFA5C-E071-4738-9F74-DCF14FFA5AC0}" srcOrd="1" destOrd="0" presId="urn:microsoft.com/office/officeart/2005/8/layout/hList7"/>
    <dgm:cxn modelId="{04B4F11F-6A92-45B8-99C8-8439A6935499}" type="presParOf" srcId="{0A330E2A-D885-450A-92E3-DBC51A3CC76B}" destId="{8C0756B6-2B51-4AD6-BC5F-2BC79E33632F}" srcOrd="0" destOrd="0" presId="urn:microsoft.com/office/officeart/2005/8/layout/hList7"/>
    <dgm:cxn modelId="{3A4BDD4F-87AE-452C-9BC0-55EA9B427BB1}" type="presParOf" srcId="{0A330E2A-D885-450A-92E3-DBC51A3CC76B}" destId="{8C87E537-14BA-489B-B8A9-C3DE6AF76921}" srcOrd="1" destOrd="0" presId="urn:microsoft.com/office/officeart/2005/8/layout/hList7"/>
    <dgm:cxn modelId="{580E6827-4247-4464-BAA1-DB3005D660D7}" type="presParOf" srcId="{8C87E537-14BA-489B-B8A9-C3DE6AF76921}" destId="{F34A13C0-A08D-49DB-AC95-1D411A7B5A19}" srcOrd="0" destOrd="0" presId="urn:microsoft.com/office/officeart/2005/8/layout/hList7"/>
    <dgm:cxn modelId="{BEAC1B8C-B295-4044-844C-A497CA1AEE23}" type="presParOf" srcId="{F34A13C0-A08D-49DB-AC95-1D411A7B5A19}" destId="{478A1CD5-AE8F-4024-A232-A64851F128D0}" srcOrd="0" destOrd="0" presId="urn:microsoft.com/office/officeart/2005/8/layout/hList7"/>
    <dgm:cxn modelId="{E3FAC727-141C-4B39-8ED5-FEC5F84BB633}" type="presParOf" srcId="{F34A13C0-A08D-49DB-AC95-1D411A7B5A19}" destId="{DE21018B-33B5-4227-A85E-37F5698B7083}" srcOrd="1" destOrd="0" presId="urn:microsoft.com/office/officeart/2005/8/layout/hList7"/>
    <dgm:cxn modelId="{43F45DD4-4802-4C3A-9C98-604CAEA2C032}" type="presParOf" srcId="{F34A13C0-A08D-49DB-AC95-1D411A7B5A19}" destId="{01789174-AA37-468D-8594-FEE2688A2E64}" srcOrd="2" destOrd="0" presId="urn:microsoft.com/office/officeart/2005/8/layout/hList7"/>
    <dgm:cxn modelId="{30A2B1C7-5E1F-4ED8-A6FA-0409ADC711D4}" type="presParOf" srcId="{F34A13C0-A08D-49DB-AC95-1D411A7B5A19}" destId="{D4C90EEB-AF5E-4659-BE09-B7B38C5F1F26}" srcOrd="3" destOrd="0" presId="urn:microsoft.com/office/officeart/2005/8/layout/hList7"/>
    <dgm:cxn modelId="{44246F79-BE1B-4FB6-98C9-DFE950CDD738}" type="presParOf" srcId="{8C87E537-14BA-489B-B8A9-C3DE6AF76921}" destId="{2435ACDC-3DA3-42AF-914A-DD195DCB64D6}" srcOrd="1" destOrd="0" presId="urn:microsoft.com/office/officeart/2005/8/layout/hList7"/>
    <dgm:cxn modelId="{F97D7384-CF2B-423B-9B91-97809F5953E8}" type="presParOf" srcId="{8C87E537-14BA-489B-B8A9-C3DE6AF76921}" destId="{669714A1-5E48-4AC8-BF1D-25735820CFD3}" srcOrd="2" destOrd="0" presId="urn:microsoft.com/office/officeart/2005/8/layout/hList7"/>
    <dgm:cxn modelId="{853A8EE6-3DA9-476A-8F23-1BD76BA69C1C}" type="presParOf" srcId="{669714A1-5E48-4AC8-BF1D-25735820CFD3}" destId="{E959FD8E-A21C-4FBF-A248-CA415141D46F}" srcOrd="0" destOrd="0" presId="urn:microsoft.com/office/officeart/2005/8/layout/hList7"/>
    <dgm:cxn modelId="{1C7B63CF-1E60-4336-A7E4-B9BFA1851862}" type="presParOf" srcId="{669714A1-5E48-4AC8-BF1D-25735820CFD3}" destId="{F02FFA5C-E071-4738-9F74-DCF14FFA5AC0}" srcOrd="1" destOrd="0" presId="urn:microsoft.com/office/officeart/2005/8/layout/hList7"/>
    <dgm:cxn modelId="{A6111CFD-7AD5-4410-995D-81A51D73C2BF}" type="presParOf" srcId="{669714A1-5E48-4AC8-BF1D-25735820CFD3}" destId="{FB38BD51-93C6-4C44-9FF4-29844329EEA2}" srcOrd="2" destOrd="0" presId="urn:microsoft.com/office/officeart/2005/8/layout/hList7"/>
    <dgm:cxn modelId="{F7F62C67-72AE-4D68-9DBB-CF43F266FF56}" type="presParOf" srcId="{669714A1-5E48-4AC8-BF1D-25735820CFD3}" destId="{C5C2F3A0-0C70-4B84-A6F0-5A87EB42E5A8}" srcOrd="3" destOrd="0" presId="urn:microsoft.com/office/officeart/2005/8/layout/hList7"/>
    <dgm:cxn modelId="{D87CE87B-1BDA-4DD8-94F0-FB8BAC0C88A0}" type="presParOf" srcId="{8C87E537-14BA-489B-B8A9-C3DE6AF76921}" destId="{53E0229C-CF74-42AD-894C-7AD47D97ED25}" srcOrd="3" destOrd="0" presId="urn:microsoft.com/office/officeart/2005/8/layout/hList7"/>
    <dgm:cxn modelId="{BC2C4D33-E643-4337-BD1B-0CFA9342BD9B}" type="presParOf" srcId="{8C87E537-14BA-489B-B8A9-C3DE6AF76921}" destId="{A3901F94-4300-47F5-9CFA-F4990EF8CC1B}" srcOrd="4" destOrd="0" presId="urn:microsoft.com/office/officeart/2005/8/layout/hList7"/>
    <dgm:cxn modelId="{D486708E-7BCB-463F-96F4-6155DED30AE5}" type="presParOf" srcId="{A3901F94-4300-47F5-9CFA-F4990EF8CC1B}" destId="{545D828C-5F30-4944-9BBC-AD7DCE5ABAFE}" srcOrd="0" destOrd="0" presId="urn:microsoft.com/office/officeart/2005/8/layout/hList7"/>
    <dgm:cxn modelId="{7C80A689-A849-455E-BA5D-E9A621003696}" type="presParOf" srcId="{A3901F94-4300-47F5-9CFA-F4990EF8CC1B}" destId="{A660D85A-D6B6-49AE-9C9D-974B2E2F4E21}" srcOrd="1" destOrd="0" presId="urn:microsoft.com/office/officeart/2005/8/layout/hList7"/>
    <dgm:cxn modelId="{CC81CFDB-ABBD-494F-B4A0-D7A082448027}" type="presParOf" srcId="{A3901F94-4300-47F5-9CFA-F4990EF8CC1B}" destId="{5F2A5500-AFA6-4F40-99EF-34BA89BEA41D}" srcOrd="2" destOrd="0" presId="urn:microsoft.com/office/officeart/2005/8/layout/hList7"/>
    <dgm:cxn modelId="{B29D5EC7-10B8-451E-A196-F96E69A45263}" type="presParOf" srcId="{A3901F94-4300-47F5-9CFA-F4990EF8CC1B}" destId="{9AD62690-D065-4ABD-9AE2-A26BBD071E86}" srcOrd="3" destOrd="0" presId="urn:microsoft.com/office/officeart/2005/8/layout/hList7"/>
    <dgm:cxn modelId="{6E138732-C08B-4B28-922B-3C894A6D6D71}" type="presParOf" srcId="{8C87E537-14BA-489B-B8A9-C3DE6AF76921}" destId="{321B6F07-AD98-49D8-A64B-4336E9064FCB}" srcOrd="5" destOrd="0" presId="urn:microsoft.com/office/officeart/2005/8/layout/hList7"/>
    <dgm:cxn modelId="{C6A084A2-E3A1-4A56-9F64-21A0FAACF942}" type="presParOf" srcId="{8C87E537-14BA-489B-B8A9-C3DE6AF76921}" destId="{37D7BDA6-430C-4D8C-8BE5-02BFAA630740}" srcOrd="6" destOrd="0" presId="urn:microsoft.com/office/officeart/2005/8/layout/hList7"/>
    <dgm:cxn modelId="{52708F2D-A52B-404D-A479-66D67898E3BE}" type="presParOf" srcId="{37D7BDA6-430C-4D8C-8BE5-02BFAA630740}" destId="{6176D58F-D22E-4AB5-8283-91A81D98054D}" srcOrd="0" destOrd="0" presId="urn:microsoft.com/office/officeart/2005/8/layout/hList7"/>
    <dgm:cxn modelId="{500A8748-31AB-4976-B5A1-398E40008A08}" type="presParOf" srcId="{37D7BDA6-430C-4D8C-8BE5-02BFAA630740}" destId="{8EC60E34-8B49-453D-BAF8-828527DADBCF}" srcOrd="1" destOrd="0" presId="urn:microsoft.com/office/officeart/2005/8/layout/hList7"/>
    <dgm:cxn modelId="{FEF5DC3B-DFDB-4F26-8FF5-C898A4B9C424}" type="presParOf" srcId="{37D7BDA6-430C-4D8C-8BE5-02BFAA630740}" destId="{472D494F-57FF-4E00-8931-E6ECCBF32334}" srcOrd="2" destOrd="0" presId="urn:microsoft.com/office/officeart/2005/8/layout/hList7"/>
    <dgm:cxn modelId="{24BB28CE-87EB-4BA6-80D1-CF355E6F0644}" type="presParOf" srcId="{37D7BDA6-430C-4D8C-8BE5-02BFAA630740}" destId="{A3F61514-B586-42E7-A7DD-E3E19C06F9E4}" srcOrd="3" destOrd="0" presId="urn:microsoft.com/office/officeart/2005/8/layout/hList7"/>
    <dgm:cxn modelId="{1B4CD434-BD8A-46B0-A9C5-9254160B0130}" type="presParOf" srcId="{8C87E537-14BA-489B-B8A9-C3DE6AF76921}" destId="{96DD45C8-9CA7-4964-B9BC-5A3B4810268E}" srcOrd="7" destOrd="0" presId="urn:microsoft.com/office/officeart/2005/8/layout/hList7"/>
    <dgm:cxn modelId="{EDDCAEF9-FD9F-4201-933C-91AF7D808F7E}" type="presParOf" srcId="{8C87E537-14BA-489B-B8A9-C3DE6AF76921}" destId="{BFA56471-5D6E-4947-AA7F-DF071483BA04}" srcOrd="8" destOrd="0" presId="urn:microsoft.com/office/officeart/2005/8/layout/hList7"/>
    <dgm:cxn modelId="{80E338B3-4991-422D-9F56-87B2B4BDFCEF}" type="presParOf" srcId="{BFA56471-5D6E-4947-AA7F-DF071483BA04}" destId="{00F7EA1C-549A-49FC-AD9D-764FE931A751}" srcOrd="0" destOrd="0" presId="urn:microsoft.com/office/officeart/2005/8/layout/hList7"/>
    <dgm:cxn modelId="{73ED8597-0D28-4A3B-92C3-217472A8F0A2}" type="presParOf" srcId="{BFA56471-5D6E-4947-AA7F-DF071483BA04}" destId="{67929672-4330-43EB-8B34-151FCB03A896}" srcOrd="1" destOrd="0" presId="urn:microsoft.com/office/officeart/2005/8/layout/hList7"/>
    <dgm:cxn modelId="{3CC3416D-CD30-4B6B-BB29-6E7AD9DB830B}" type="presParOf" srcId="{BFA56471-5D6E-4947-AA7F-DF071483BA04}" destId="{3E86F3A7-EE76-4DCF-AC08-B1CD02354D1B}" srcOrd="2" destOrd="0" presId="urn:microsoft.com/office/officeart/2005/8/layout/hList7"/>
    <dgm:cxn modelId="{CD39E810-DFAA-49F3-923A-BC038A921BAA}" type="presParOf" srcId="{BFA56471-5D6E-4947-AA7F-DF071483BA04}" destId="{09162369-1424-4D5E-BB1C-5F5B0243CD11}" srcOrd="3" destOrd="0" presId="urn:microsoft.com/office/officeart/2005/8/layout/hList7"/>
    <dgm:cxn modelId="{BE24A9DC-DFE6-4F8A-8E37-99DEC1B97601}" type="presParOf" srcId="{8C87E537-14BA-489B-B8A9-C3DE6AF76921}" destId="{3CE84F9D-0C6E-4AF5-ABBB-4118D4F6D4ED}" srcOrd="9" destOrd="0" presId="urn:microsoft.com/office/officeart/2005/8/layout/hList7"/>
    <dgm:cxn modelId="{5FFD4724-E2CA-49AC-ABDC-F92DC6F8A27C}" type="presParOf" srcId="{8C87E537-14BA-489B-B8A9-C3DE6AF76921}" destId="{127B524D-A7B7-4249-8CDC-F872206CFE9F}" srcOrd="10" destOrd="0" presId="urn:microsoft.com/office/officeart/2005/8/layout/hList7"/>
    <dgm:cxn modelId="{A526F6A3-0C80-46C0-91F5-413137E51403}" type="presParOf" srcId="{127B524D-A7B7-4249-8CDC-F872206CFE9F}" destId="{D5837140-17E3-405C-91F3-1D6E63E092CC}" srcOrd="0" destOrd="0" presId="urn:microsoft.com/office/officeart/2005/8/layout/hList7"/>
    <dgm:cxn modelId="{F43B6AFB-5CA0-49C2-B858-6085B2C7FAD1}" type="presParOf" srcId="{127B524D-A7B7-4249-8CDC-F872206CFE9F}" destId="{BE09328E-647E-4703-B3D8-16E22E124385}" srcOrd="1" destOrd="0" presId="urn:microsoft.com/office/officeart/2005/8/layout/hList7"/>
    <dgm:cxn modelId="{84CE09C5-FDD1-4C0E-A7D8-91F949CA4DAA}" type="presParOf" srcId="{127B524D-A7B7-4249-8CDC-F872206CFE9F}" destId="{28D70C01-7E51-40AE-9065-4D3FCE282E4C}" srcOrd="2" destOrd="0" presId="urn:microsoft.com/office/officeart/2005/8/layout/hList7"/>
    <dgm:cxn modelId="{6F344EAD-9541-49FA-B9AC-CE4E843D54B3}" type="presParOf" srcId="{127B524D-A7B7-4249-8CDC-F872206CFE9F}" destId="{022BAB58-632C-4BC5-A68C-E27F7E229EAE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8A1CD5-AE8F-4024-A232-A64851F128D0}">
      <dsp:nvSpPr>
        <dsp:cNvPr id="0" name=""/>
        <dsp:cNvSpPr/>
      </dsp:nvSpPr>
      <dsp:spPr>
        <a:xfrm>
          <a:off x="140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Move away from an equally weighted composite criteria?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tx1"/>
              </a:solidFill>
            </a:rPr>
            <a:t>Is there a case to be made for clinical response being prioritised as what is most important to patients and treating clinicians.</a:t>
          </a:r>
          <a:endParaRPr lang="en-GB" sz="1100" kern="1200">
            <a:solidFill>
              <a:schemeClr val="tx1"/>
            </a:solidFill>
          </a:endParaRPr>
        </a:p>
      </dsp:txBody>
      <dsp:txXfrm>
        <a:off x="140" y="1967864"/>
        <a:ext cx="1873204" cy="1967864"/>
      </dsp:txXfrm>
    </dsp:sp>
    <dsp:sp modelId="{D4C90EEB-AF5E-4659-BE09-B7B38C5F1F26}">
      <dsp:nvSpPr>
        <dsp:cNvPr id="0" name=""/>
        <dsp:cNvSpPr/>
      </dsp:nvSpPr>
      <dsp:spPr>
        <a:xfrm>
          <a:off x="117619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59FD8E-A21C-4FBF-A248-CA415141D46F}">
      <dsp:nvSpPr>
        <dsp:cNvPr id="0" name=""/>
        <dsp:cNvSpPr/>
      </dsp:nvSpPr>
      <dsp:spPr>
        <a:xfrm>
          <a:off x="1929541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3674886"/>
            <a:satOff val="-4077"/>
            <a:lumOff val="11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Move away from Binary outcomes?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050" b="1" kern="120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1" lang="en-GB" sz="1100" b="0" kern="1200">
              <a:solidFill>
                <a:schemeClr val="tx1"/>
              </a:solidFill>
              <a:latin typeface="+mn-lt"/>
              <a:ea typeface="+mn-ea"/>
              <a:cs typeface="+mn-cs"/>
            </a:rPr>
            <a:t>Continuous or ordinal outcomes instead? Which may even enhance statistical powering. </a:t>
          </a:r>
          <a:endParaRPr lang="en-GB" sz="1100" kern="1200">
            <a:solidFill>
              <a:schemeClr val="tx1"/>
            </a:solidFill>
          </a:endParaRPr>
        </a:p>
      </dsp:txBody>
      <dsp:txXfrm>
        <a:off x="1929541" y="1967864"/>
        <a:ext cx="1873204" cy="1967864"/>
      </dsp:txXfrm>
    </dsp:sp>
    <dsp:sp modelId="{C5C2F3A0-0C70-4B84-A6F0-5A87EB42E5A8}">
      <dsp:nvSpPr>
        <dsp:cNvPr id="0" name=""/>
        <dsp:cNvSpPr/>
      </dsp:nvSpPr>
      <dsp:spPr>
        <a:xfrm>
          <a:off x="2047019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5D828C-5F30-4944-9BBC-AD7DCE5ABAFE}">
      <dsp:nvSpPr>
        <dsp:cNvPr id="0" name=""/>
        <dsp:cNvSpPr/>
      </dsp:nvSpPr>
      <dsp:spPr>
        <a:xfrm>
          <a:off x="3858941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7349773"/>
            <a:satOff val="-8153"/>
            <a:lumOff val="23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Are the time points for assessment appropriate for all moulds and infection sites/syndromes?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tx1"/>
              </a:solidFill>
            </a:rPr>
            <a:t>Day 42/ day 84 too early for some moulds </a:t>
          </a:r>
          <a:r>
            <a:rPr lang="en-GB" sz="1200" b="0" kern="1200">
              <a:solidFill>
                <a:schemeClr val="tx1"/>
              </a:solidFill>
            </a:rPr>
            <a:t>and </a:t>
          </a:r>
          <a:r>
            <a:rPr lang="en-GB" sz="1100" b="0" kern="1200">
              <a:solidFill>
                <a:schemeClr val="tx1"/>
              </a:solidFill>
            </a:rPr>
            <a:t>certain difficult to treat sites such as CNS, bone and joint or deep seated SSTI. </a:t>
          </a:r>
          <a:endParaRPr lang="en-GB" sz="1100" kern="1200">
            <a:solidFill>
              <a:schemeClr val="tx1"/>
            </a:solidFill>
          </a:endParaRPr>
        </a:p>
      </dsp:txBody>
      <dsp:txXfrm>
        <a:off x="3858941" y="1967864"/>
        <a:ext cx="1873204" cy="1967864"/>
      </dsp:txXfrm>
    </dsp:sp>
    <dsp:sp modelId="{9AD62690-D065-4ABD-9AE2-A26BBD071E86}">
      <dsp:nvSpPr>
        <dsp:cNvPr id="0" name=""/>
        <dsp:cNvSpPr/>
      </dsp:nvSpPr>
      <dsp:spPr>
        <a:xfrm>
          <a:off x="3976420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76D58F-D22E-4AB5-8283-91A81D98054D}">
      <dsp:nvSpPr>
        <dsp:cNvPr id="0" name=""/>
        <dsp:cNvSpPr/>
      </dsp:nvSpPr>
      <dsp:spPr>
        <a:xfrm>
          <a:off x="5788342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11024659"/>
            <a:satOff val="-12230"/>
            <a:lumOff val="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Rare moulds 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0" kern="1200">
              <a:solidFill>
                <a:schemeClr val="tx1"/>
              </a:solidFill>
            </a:rPr>
            <a:t>Should we have mould criteria that look beyond aspergillus? </a:t>
          </a:r>
          <a:endParaRPr lang="en-GB" sz="1400" b="0" kern="1200">
            <a:solidFill>
              <a:schemeClr val="tx1"/>
            </a:solidFill>
          </a:endParaRPr>
        </a:p>
      </dsp:txBody>
      <dsp:txXfrm>
        <a:off x="5788342" y="1967864"/>
        <a:ext cx="1873204" cy="1967864"/>
      </dsp:txXfrm>
    </dsp:sp>
    <dsp:sp modelId="{A3F61514-B586-42E7-A7DD-E3E19C06F9E4}">
      <dsp:nvSpPr>
        <dsp:cNvPr id="0" name=""/>
        <dsp:cNvSpPr/>
      </dsp:nvSpPr>
      <dsp:spPr>
        <a:xfrm>
          <a:off x="5905820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0F7EA1C-549A-49FC-AD9D-764FE931A751}">
      <dsp:nvSpPr>
        <dsp:cNvPr id="0" name=""/>
        <dsp:cNvSpPr/>
      </dsp:nvSpPr>
      <dsp:spPr>
        <a:xfrm>
          <a:off x="7717742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14699546"/>
            <a:satOff val="-16306"/>
            <a:lumOff val="47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Stable disease always a failure?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>
              <a:solidFill>
                <a:schemeClr val="tx1"/>
              </a:solidFill>
            </a:rPr>
            <a:t>Could we capture when stable disease is a success?</a:t>
          </a:r>
        </a:p>
      </dsp:txBody>
      <dsp:txXfrm>
        <a:off x="7717742" y="1967864"/>
        <a:ext cx="1873204" cy="1967864"/>
      </dsp:txXfrm>
    </dsp:sp>
    <dsp:sp modelId="{09162369-1424-4D5E-BB1C-5F5B0243CD11}">
      <dsp:nvSpPr>
        <dsp:cNvPr id="0" name=""/>
        <dsp:cNvSpPr/>
      </dsp:nvSpPr>
      <dsp:spPr>
        <a:xfrm>
          <a:off x="7835220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837140-17E3-405C-91F3-1D6E63E092CC}">
      <dsp:nvSpPr>
        <dsp:cNvPr id="0" name=""/>
        <dsp:cNvSpPr/>
      </dsp:nvSpPr>
      <dsp:spPr>
        <a:xfrm>
          <a:off x="9647143" y="0"/>
          <a:ext cx="1873204" cy="4919662"/>
        </a:xfrm>
        <a:prstGeom prst="roundRect">
          <a:avLst>
            <a:gd name="adj" fmla="val 10000"/>
          </a:avLst>
        </a:prstGeom>
        <a:solidFill>
          <a:schemeClr val="accent4">
            <a:hueOff val="18374432"/>
            <a:satOff val="-20383"/>
            <a:lumOff val="58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b="1" kern="1200">
              <a:solidFill>
                <a:schemeClr val="tx1"/>
              </a:solidFill>
            </a:rPr>
            <a:t>Include Newer Diagnostic Modalities?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b="1" kern="1200">
            <a:solidFill>
              <a:schemeClr val="tx1"/>
            </a:solidFill>
          </a:endParaRP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>
              <a:solidFill>
                <a:schemeClr val="tx1"/>
              </a:solidFill>
            </a:rPr>
            <a:t>GM, BDG, PCR, LFT, PET-CT. Increased options to assess response a good thing?</a:t>
          </a:r>
        </a:p>
      </dsp:txBody>
      <dsp:txXfrm>
        <a:off x="9647143" y="1967864"/>
        <a:ext cx="1873204" cy="1967864"/>
      </dsp:txXfrm>
    </dsp:sp>
    <dsp:sp modelId="{022BAB58-632C-4BC5-A68C-E27F7E229EAE}">
      <dsp:nvSpPr>
        <dsp:cNvPr id="0" name=""/>
        <dsp:cNvSpPr/>
      </dsp:nvSpPr>
      <dsp:spPr>
        <a:xfrm>
          <a:off x="9764621" y="295179"/>
          <a:ext cx="1638247" cy="1638247"/>
        </a:xfrm>
        <a:prstGeom prst="ellipse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0756B6-2B51-4AD6-BC5F-2BC79E33632F}">
      <dsp:nvSpPr>
        <dsp:cNvPr id="0" name=""/>
        <dsp:cNvSpPr/>
      </dsp:nvSpPr>
      <dsp:spPr>
        <a:xfrm>
          <a:off x="460819" y="3935729"/>
          <a:ext cx="10598848" cy="737949"/>
        </a:xfrm>
        <a:prstGeom prst="left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: 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グラフィックス 5">
            <a:extLst>
              <a:ext uri="{FF2B5EF4-FFF2-40B4-BE49-F238E27FC236}">
                <a16:creationId xmlns:a16="http://schemas.microsoft.com/office/drawing/2014/main" id="{94029641-8D67-4728-94F5-484976AE20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6000" y="828000"/>
            <a:ext cx="8640000" cy="2700000"/>
          </a:xfrm>
        </p:spPr>
        <p:txBody>
          <a:bodyPr anchor="b">
            <a:normAutofit/>
          </a:bodyPr>
          <a:lstStyle>
            <a:lvl1pPr algn="l">
              <a:lnSpc>
                <a:spcPct val="120000"/>
              </a:lnSpc>
              <a:defRPr sz="3600"/>
            </a:lvl1pPr>
          </a:lstStyle>
          <a:p>
            <a:r>
              <a:rPr lang="en-US" altLang="ja-JP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5999" y="3960000"/>
            <a:ext cx="8639999" cy="216000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248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: 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グラフィックス 3">
            <a:extLst>
              <a:ext uri="{FF2B5EF4-FFF2-40B4-BE49-F238E27FC236}">
                <a16:creationId xmlns:a16="http://schemas.microsoft.com/office/drawing/2014/main" id="{0587E948-1F8C-4803-8E54-90527BA5CB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D16681-E50F-4137-8EDD-C168DFE95E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6000" y="828000"/>
            <a:ext cx="8640000" cy="2700000"/>
          </a:xfrm>
        </p:spPr>
        <p:txBody>
          <a:bodyPr anchor="b">
            <a:normAutofit/>
          </a:bodyPr>
          <a:lstStyle>
            <a:lvl1pPr algn="l">
              <a:lnSpc>
                <a:spcPct val="120000"/>
              </a:lnSpc>
              <a:defRPr sz="3600"/>
            </a:lvl1pPr>
          </a:lstStyle>
          <a:p>
            <a:r>
              <a:rPr lang="en-US" altLang="ja-JP"/>
              <a:t>Click to edit Master title style</a:t>
            </a:r>
            <a:endParaRPr lang="en-US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7349407-EEB9-4519-BB8A-FA5F35804C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99" y="3960000"/>
            <a:ext cx="8639999" cy="2160000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altLang="ja-JP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5691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: 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グラフィックス 7">
            <a:extLst>
              <a:ext uri="{FF2B5EF4-FFF2-40B4-BE49-F238E27FC236}">
                <a16:creationId xmlns:a16="http://schemas.microsoft.com/office/drawing/2014/main" id="{1E4C293D-B07A-4217-9D05-D08878F00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559073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2: タイトルとコンテンツ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グラフィックス 7">
            <a:extLst>
              <a:ext uri="{FF2B5EF4-FFF2-40B4-BE49-F238E27FC236}">
                <a16:creationId xmlns:a16="http://schemas.microsoft.com/office/drawing/2014/main" id="{2370F447-85F5-4688-A812-B91C9A39EB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855EBCD-A20C-4155-A4B0-6BFFFE2D6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E19770A5-0536-41F6-AECF-00E086C912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F9855425-78CB-4AC1-A1B6-C1EEF5E76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4A226A5-0E97-40AA-976B-6906B54B6B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449389"/>
            <a:ext cx="11521565" cy="4919133"/>
          </a:xfrm>
        </p:spPr>
        <p:txBody>
          <a:bodyPr/>
          <a:lstStyle/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24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: 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グラフィックス 7">
            <a:extLst>
              <a:ext uri="{FF2B5EF4-FFF2-40B4-BE49-F238E27FC236}">
                <a16:creationId xmlns:a16="http://schemas.microsoft.com/office/drawing/2014/main" id="{C3C5E004-F5DB-42D1-BC1D-4A099580AF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84760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: タイトルのみ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グラフィックス 7">
            <a:extLst>
              <a:ext uri="{FF2B5EF4-FFF2-40B4-BE49-F238E27FC236}">
                <a16:creationId xmlns:a16="http://schemas.microsoft.com/office/drawing/2014/main" id="{61414EAC-0879-4448-A19E-063D017903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8000" y="0"/>
            <a:ext cx="9144000" cy="6858000"/>
          </a:xfrm>
          <a:prstGeom prst="rect">
            <a:avLst/>
          </a:prstGeom>
        </p:spPr>
      </p:pic>
      <p:sp>
        <p:nvSpPr>
          <p:cNvPr id="2" name="タイトル 1">
            <a:extLst>
              <a:ext uri="{FF2B5EF4-FFF2-40B4-BE49-F238E27FC236}">
                <a16:creationId xmlns:a16="http://schemas.microsoft.com/office/drawing/2014/main" id="{F855EBCD-A20C-4155-A4B0-6BFFFE2D61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E19770A5-0536-41F6-AECF-00E086C912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F9855425-78CB-4AC1-A1B6-C1EEF5E76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5486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 スライド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字幕 2">
            <a:extLst>
              <a:ext uri="{FF2B5EF4-FFF2-40B4-BE49-F238E27FC236}">
                <a16:creationId xmlns:a16="http://schemas.microsoft.com/office/drawing/2014/main" id="{17400356-0262-3743-80CF-84B0739AD1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300" y="3602038"/>
            <a:ext cx="9918700" cy="1408112"/>
          </a:xfrm>
        </p:spPr>
        <p:txBody>
          <a:bodyPr/>
          <a:lstStyle>
            <a:lvl1pPr marL="0" indent="0" algn="l">
              <a:buNone/>
              <a:defRPr sz="2400" b="0" i="0">
                <a:latin typeface="+mn-ea"/>
                <a:ea typeface="+mn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12" name="コンテンツ プレースホルダー 11">
            <a:extLst>
              <a:ext uri="{FF2B5EF4-FFF2-40B4-BE49-F238E27FC236}">
                <a16:creationId xmlns:a16="http://schemas.microsoft.com/office/drawing/2014/main" id="{B0F649FC-8C27-F84D-94C1-4CDF8A16798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5200651"/>
            <a:ext cx="7315200" cy="707837"/>
          </a:xfrm>
        </p:spPr>
        <p:txBody>
          <a:bodyPr>
            <a:noAutofit/>
          </a:bodyPr>
          <a:lstStyle>
            <a:lvl1pPr>
              <a:buNone/>
              <a:defRPr sz="1600" b="0" i="0">
                <a:latin typeface="+mn-ea"/>
                <a:ea typeface="+mn-ea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コンテンツ プレースホルダー 11">
            <a:extLst>
              <a:ext uri="{FF2B5EF4-FFF2-40B4-BE49-F238E27FC236}">
                <a16:creationId xmlns:a16="http://schemas.microsoft.com/office/drawing/2014/main" id="{9850A677-C784-CD47-A842-945EC4FFC1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5967386"/>
            <a:ext cx="2967318" cy="298944"/>
          </a:xfrm>
        </p:spPr>
        <p:txBody>
          <a:bodyPr>
            <a:noAutofit/>
          </a:bodyPr>
          <a:lstStyle>
            <a:lvl1pPr>
              <a:buNone/>
              <a:defRPr sz="1400" b="0" i="0">
                <a:latin typeface="+mn-ea"/>
                <a:ea typeface="+mn-ea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5" name="タイトル 1">
            <a:extLst>
              <a:ext uri="{FF2B5EF4-FFF2-40B4-BE49-F238E27FC236}">
                <a16:creationId xmlns:a16="http://schemas.microsoft.com/office/drawing/2014/main" id="{2C14CF1C-4B0C-704F-AF87-865E68DE2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9300" y="3000238"/>
            <a:ext cx="9918700" cy="545874"/>
          </a:xfrm>
        </p:spPr>
        <p:txBody>
          <a:bodyPr>
            <a:normAutofit/>
          </a:bodyPr>
          <a:lstStyle>
            <a:lvl1pPr>
              <a:defRPr sz="3600" b="0" i="0">
                <a:latin typeface="+mj-ea"/>
                <a:ea typeface="+mj-ea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091466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6001" y="180000"/>
            <a:ext cx="11521567" cy="108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6000" y="1449389"/>
            <a:ext cx="11521565" cy="491913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408001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6000" y="6408001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DBA7C7-A787-426C-9309-6179A5C4028C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90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2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kumimoji="1"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6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pos="3840">
          <p15:clr>
            <a:srgbClr val="F26B43"/>
          </p15:clr>
        </p15:guide>
        <p15:guide id="4" orient="horz" pos="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87BF0D-779B-C1BD-AEB5-AA9C0B07ED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87BF0D-779B-C1BD-AEB5-AA9C0B07ED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F04EEF68-8C5A-014C-83ED-9C69C6758D3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GB" altLang="ja-JP">
                <a:latin typeface="+mj-ea"/>
                <a:ea typeface="+mj-ea"/>
              </a:rPr>
              <a:t>Gurjinder</a:t>
            </a:r>
            <a:r>
              <a:rPr lang="ja-JP" altLang="en-US">
                <a:latin typeface="+mj-ea"/>
                <a:ea typeface="+mj-ea"/>
              </a:rPr>
              <a:t> </a:t>
            </a:r>
            <a:r>
              <a:rPr lang="en-GB" altLang="ja-JP">
                <a:latin typeface="+mj-ea"/>
                <a:ea typeface="+mj-ea"/>
              </a:rPr>
              <a:t>Bains – Medical Advisor – Infectious Diseases </a:t>
            </a:r>
            <a:endParaRPr lang="ja-JP" altLang="en-US" sz="1600">
              <a:latin typeface="+mj-ea"/>
              <a:ea typeface="+mj-ea"/>
            </a:endParaRP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0C3B8D34-52BD-724A-9772-4C4361A23A10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altLang="ja-JP"/>
              <a:t>2024 / 01 / 08</a:t>
            </a:r>
            <a:endParaRPr lang="ja-JP" altLang="en-US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id="{B5B4FC5D-3A6B-B74A-B1EC-99C6ACDF3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kumimoji="1" lang="en-GB" altLang="ja-JP"/>
              <a:t>Invasive fungal disease clinical trial response criteria update - ECMM MSG – Kick off Session </a:t>
            </a:r>
            <a:endParaRPr kumimoji="1" lang="ja-JP" altLang="en-US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9A34A878-58FB-9D43-E356-C9BD4EEC05A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  <a:p>
            <a:r>
              <a:rPr lang="en-GB"/>
              <a:t>Shionogi Input </a:t>
            </a:r>
          </a:p>
        </p:txBody>
      </p:sp>
    </p:spTree>
    <p:extLst>
      <p:ext uri="{BB962C8B-B14F-4D97-AF65-F5344CB8AC3E}">
        <p14:creationId xmlns:p14="http://schemas.microsoft.com/office/powerpoint/2010/main" val="5746856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810D7-3709-A971-6522-21D9112596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siderations for Update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FA2FAA-6B74-C0A1-3C97-64A8F88B1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t>2</a:t>
            </a:fld>
            <a:endParaRPr kumimoji="1" lang="ja-JP" altLang="en-US"/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062BC9EC-459B-B6CF-C9AA-341E839ADCB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5005585"/>
              </p:ext>
            </p:extLst>
          </p:nvPr>
        </p:nvGraphicFramePr>
        <p:xfrm>
          <a:off x="336550" y="1449388"/>
          <a:ext cx="11520488" cy="49196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809193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7D37A7-56D5-9775-BF31-34B415CB57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685991"/>
            <a:ext cx="11521565" cy="4919133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GB" sz="3200"/>
              <a:t>Thank you for your consideration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1F4D36-87AD-081E-8BB3-1871E293B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DBA7C7-A787-426C-9309-6179A5C4028C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53042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hionogi deufault">
  <a:themeElements>
    <a:clrScheme name="SHIONOGI">
      <a:dk1>
        <a:srgbClr val="000000"/>
      </a:dk1>
      <a:lt1>
        <a:srgbClr val="717171"/>
      </a:lt1>
      <a:dk2>
        <a:srgbClr val="C0C0C0"/>
      </a:dk2>
      <a:lt2>
        <a:srgbClr val="EFEFEF"/>
      </a:lt2>
      <a:accent1>
        <a:srgbClr val="D80C24"/>
      </a:accent1>
      <a:accent2>
        <a:srgbClr val="65AADD"/>
      </a:accent2>
      <a:accent3>
        <a:srgbClr val="69BD83"/>
      </a:accent3>
      <a:accent4>
        <a:srgbClr val="FCD475"/>
      </a:accent4>
      <a:accent5>
        <a:srgbClr val="EE869A"/>
      </a:accent5>
      <a:accent6>
        <a:srgbClr val="A674B0"/>
      </a:accent6>
      <a:hlink>
        <a:srgbClr val="0070C0"/>
      </a:hlink>
      <a:folHlink>
        <a:srgbClr val="C129B6"/>
      </a:folHlink>
    </a:clrScheme>
    <a:fontScheme name="SHIONOGI_PPT">
      <a:majorFont>
        <a:latin typeface="Segoe UI"/>
        <a:ea typeface="Meiryo UI"/>
        <a:cs typeface=""/>
      </a:majorFont>
      <a:minorFont>
        <a:latin typeface="Segoe UI"/>
        <a:ea typeface="Meiryo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ionogi deufault" id="{15A3EC0D-4E41-4065-8D60-927520D2ADC7}" vid="{672B4E4F-CA1E-4754-BF6E-B364B379D52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8A0E4472D57B4BAC778D171889AB01" ma:contentTypeVersion="17" ma:contentTypeDescription="Create a new document." ma:contentTypeScope="" ma:versionID="6a931cf0c309665917b958ae187bb414">
  <xsd:schema xmlns:xsd="http://www.w3.org/2001/XMLSchema" xmlns:xs="http://www.w3.org/2001/XMLSchema" xmlns:p="http://schemas.microsoft.com/office/2006/metadata/properties" xmlns:ns2="e2f6fb73-1b23-4b6a-bffc-47839f31ee74" xmlns:ns3="5791d5cc-fff0-4d52-85c5-843e3f941e97" targetNamespace="http://schemas.microsoft.com/office/2006/metadata/properties" ma:root="true" ma:fieldsID="7a58053da7ec4300b08284abbed952b7" ns2:_="" ns3:_="">
    <xsd:import namespace="e2f6fb73-1b23-4b6a-bffc-47839f31ee74"/>
    <xsd:import namespace="5791d5cc-fff0-4d52-85c5-843e3f941e9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f6fb73-1b23-4b6a-bffc-47839f31ee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d4d314b1-1c69-4210-8ab4-1e7bb76d73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91d5cc-fff0-4d52-85c5-843e3f941e97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0e2f6a0-f4fb-4ea6-a9f3-65e3142f3524}" ma:internalName="TaxCatchAll" ma:showField="CatchAllData" ma:web="5791d5cc-fff0-4d52-85c5-843e3f941e9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9109D7-A76F-4289-B5E1-9405AF582C21}">
  <ds:schemaRefs>
    <ds:schemaRef ds:uri="5791d5cc-fff0-4d52-85c5-843e3f941e97"/>
    <ds:schemaRef ds:uri="e2f6fb73-1b23-4b6a-bffc-47839f31ee7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422C2AB-0FCB-44D4-BE8A-5079F179630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hionogi deufault</Template>
  <TotalTime>0</TotalTime>
  <Words>188</Words>
  <Application>Microsoft Office PowerPoint</Application>
  <PresentationFormat>Widescreen</PresentationFormat>
  <Paragraphs>24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Arial</vt:lpstr>
      <vt:lpstr>Segoe UI</vt:lpstr>
      <vt:lpstr>Shionogi deufault</vt:lpstr>
      <vt:lpstr>Invasive fungal disease clinical trial response criteria update - ECMM MSG – Kick off Session </vt:lpstr>
      <vt:lpstr>Considerations for Updates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asive fungal disease clinical trial response criteria update - ECMM MSG – Kick off Session </dc:title>
  <dc:creator>Bains</dc:creator>
  <cp:lastModifiedBy>Jennifer Cox</cp:lastModifiedBy>
  <cp:revision>1</cp:revision>
  <dcterms:created xsi:type="dcterms:W3CDTF">2024-01-08T11:37:35Z</dcterms:created>
  <dcterms:modified xsi:type="dcterms:W3CDTF">2024-01-08T13:44:56Z</dcterms:modified>
</cp:coreProperties>
</file>